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435" r:id="rId2"/>
    <p:sldId id="442" r:id="rId3"/>
    <p:sldId id="441" r:id="rId4"/>
    <p:sldId id="443" r:id="rId5"/>
    <p:sldId id="444" r:id="rId6"/>
    <p:sldId id="452" r:id="rId7"/>
    <p:sldId id="445" r:id="rId8"/>
    <p:sldId id="446" r:id="rId9"/>
    <p:sldId id="448" r:id="rId10"/>
    <p:sldId id="451" r:id="rId11"/>
    <p:sldId id="449" r:id="rId12"/>
    <p:sldId id="450" r:id="rId13"/>
    <p:sldId id="419" r:id="rId14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B7FF"/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216" autoAdjust="0"/>
    <p:restoredTop sz="85160" autoAdjust="0"/>
  </p:normalViewPr>
  <p:slideViewPr>
    <p:cSldViewPr snapToGrid="0">
      <p:cViewPr>
        <p:scale>
          <a:sx n="70" d="100"/>
          <a:sy n="70" d="100"/>
        </p:scale>
        <p:origin x="432" y="5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handoutMaster" Target="handoutMasters/handoutMaster1.xml"/><Relationship Id="rId17" Type="http://schemas.openxmlformats.org/officeDocument/2006/relationships/tags" Target="tags/tag1.xml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7.11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7.11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779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7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0493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7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378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2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5247006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6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7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0.tif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docker.com/compose/compose-file" TargetMode="External"/><Relationship Id="rId4" Type="http://schemas.openxmlformats.org/officeDocument/2006/relationships/hyperlink" Target="https://docs.docker.com/compose/reference" TargetMode="Externa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tif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4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1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image" Target="../media/image15.png"/><Relationship Id="rId20" Type="http://schemas.openxmlformats.org/officeDocument/2006/relationships/image" Target="../media/image26.png"/><Relationship Id="rId10" Type="http://schemas.openxmlformats.org/officeDocument/2006/relationships/image" Target="../media/image16.png"/><Relationship Id="rId11" Type="http://schemas.openxmlformats.org/officeDocument/2006/relationships/image" Target="../media/image17.png"/><Relationship Id="rId12" Type="http://schemas.openxmlformats.org/officeDocument/2006/relationships/image" Target="../media/image18.png"/><Relationship Id="rId13" Type="http://schemas.openxmlformats.org/officeDocument/2006/relationships/image" Target="../media/image19.png"/><Relationship Id="rId14" Type="http://schemas.openxmlformats.org/officeDocument/2006/relationships/image" Target="../media/image20.png"/><Relationship Id="rId15" Type="http://schemas.openxmlformats.org/officeDocument/2006/relationships/image" Target="../media/image21.png"/><Relationship Id="rId16" Type="http://schemas.openxmlformats.org/officeDocument/2006/relationships/image" Target="../media/image22.png"/><Relationship Id="rId17" Type="http://schemas.openxmlformats.org/officeDocument/2006/relationships/image" Target="../media/image23.png"/><Relationship Id="rId18" Type="http://schemas.openxmlformats.org/officeDocument/2006/relationships/image" Target="../media/image24.png"/><Relationship Id="rId19" Type="http://schemas.openxmlformats.org/officeDocument/2006/relationships/image" Target="../media/image25.png"/><Relationship Id="rId1" Type="http://schemas.openxmlformats.org/officeDocument/2006/relationships/vmlDrawing" Target="../drawings/vmlDrawing11.vml"/><Relationship Id="rId2" Type="http://schemas.openxmlformats.org/officeDocument/2006/relationships/tags" Target="../tags/tag12.xml"/><Relationship Id="rId3" Type="http://schemas.openxmlformats.org/officeDocument/2006/relationships/slideLayout" Target="../slideLayouts/slideLayout8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1.emf"/><Relationship Id="rId6" Type="http://schemas.openxmlformats.org/officeDocument/2006/relationships/image" Target="../media/image12.png"/><Relationship Id="rId7" Type="http://schemas.openxmlformats.org/officeDocument/2006/relationships/image" Target="../media/image13.png"/><Relationship Id="rId8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420843" y="5283109"/>
            <a:ext cx="32351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Composi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kt 2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71852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1357357" y="2095017"/>
            <a:ext cx="3530009" cy="36933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 smtClean="0"/>
              <a:t>Application</a:t>
            </a:r>
            <a:r>
              <a:rPr lang="de-DE" b="1" dirty="0" smtClean="0"/>
              <a:t> </a:t>
            </a:r>
            <a:r>
              <a:rPr lang="de-DE" b="1" dirty="0" err="1" smtClean="0"/>
              <a:t>Blueprint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Orchestration: The </a:t>
            </a:r>
            <a:r>
              <a:rPr lang="de-DE" dirty="0" err="1" smtClean="0"/>
              <a:t>Composition</a:t>
            </a:r>
            <a:r>
              <a:rPr lang="de-DE" dirty="0" smtClean="0"/>
              <a:t> Par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357357" y="3537417"/>
            <a:ext cx="3530009" cy="5635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</a:t>
            </a:r>
            <a:r>
              <a:rPr lang="de-DE" dirty="0" err="1" smtClean="0"/>
              <a:t>Orchestrator</a:t>
            </a:r>
            <a:endParaRPr lang="de-DE" dirty="0" smtClean="0"/>
          </a:p>
        </p:txBody>
      </p:sp>
      <p:sp>
        <p:nvSpPr>
          <p:cNvPr id="6" name="Pfeil nach unten 5"/>
          <p:cNvSpPr/>
          <p:nvPr/>
        </p:nvSpPr>
        <p:spPr>
          <a:xfrm>
            <a:off x="2808700" y="2727922"/>
            <a:ext cx="627321" cy="712382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Pfeil nach unten 6"/>
          <p:cNvSpPr/>
          <p:nvPr/>
        </p:nvSpPr>
        <p:spPr>
          <a:xfrm>
            <a:off x="2808700" y="4196459"/>
            <a:ext cx="627321" cy="712382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" name="Textfeld 9"/>
          <p:cNvSpPr txBox="1"/>
          <p:nvPr/>
        </p:nvSpPr>
        <p:spPr>
          <a:xfrm>
            <a:off x="1357355" y="5046309"/>
            <a:ext cx="3530009" cy="36933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 smtClean="0"/>
              <a:t>Running</a:t>
            </a:r>
            <a:r>
              <a:rPr lang="de-DE" b="1" dirty="0" smtClean="0"/>
              <a:t> </a:t>
            </a:r>
            <a:r>
              <a:rPr lang="de-DE" b="1" dirty="0" err="1" smtClean="0"/>
              <a:t>Application</a:t>
            </a:r>
            <a:endParaRPr lang="de-DE" dirty="0"/>
          </a:p>
        </p:txBody>
      </p:sp>
      <p:grpSp>
        <p:nvGrpSpPr>
          <p:cNvPr id="30" name="Gruppieren 29"/>
          <p:cNvGrpSpPr/>
          <p:nvPr/>
        </p:nvGrpSpPr>
        <p:grpSpPr>
          <a:xfrm>
            <a:off x="5459896" y="1339531"/>
            <a:ext cx="5671930" cy="4544434"/>
            <a:chOff x="5459896" y="1339531"/>
            <a:chExt cx="5671930" cy="4544434"/>
          </a:xfrm>
        </p:grpSpPr>
        <p:sp>
          <p:nvSpPr>
            <p:cNvPr id="28" name="Abgerundete rechteckige Legende 27"/>
            <p:cNvSpPr/>
            <p:nvPr/>
          </p:nvSpPr>
          <p:spPr>
            <a:xfrm>
              <a:off x="5459896" y="1339531"/>
              <a:ext cx="5671930" cy="4544434"/>
            </a:xfrm>
            <a:prstGeom prst="wedgeRoundRectCallout">
              <a:avLst>
                <a:gd name="adj1" fmla="val -61721"/>
                <a:gd name="adj2" fmla="val -28261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1" name="Abgerundetes Rechteck 10"/>
            <p:cNvSpPr/>
            <p:nvPr/>
          </p:nvSpPr>
          <p:spPr>
            <a:xfrm>
              <a:off x="5627630" y="3447644"/>
              <a:ext cx="4433778" cy="827608"/>
            </a:xfrm>
            <a:prstGeom prst="roundRect">
              <a:avLst/>
            </a:prstGeom>
            <a:noFill/>
            <a:ln w="28575">
              <a:solidFill>
                <a:schemeClr val="bg2">
                  <a:lumMod val="2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2" name="Abgerundetes Rechteck 11"/>
            <p:cNvSpPr/>
            <p:nvPr/>
          </p:nvSpPr>
          <p:spPr>
            <a:xfrm>
              <a:off x="6787133" y="2134942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err="1" smtClean="0"/>
                <a:t>HAproxy</a:t>
              </a:r>
              <a:endParaRPr lang="de-DE" dirty="0" smtClean="0"/>
            </a:p>
          </p:txBody>
        </p:sp>
        <p:sp>
          <p:nvSpPr>
            <p:cNvPr id="13" name="Abgerundetes Rechteck 12"/>
            <p:cNvSpPr/>
            <p:nvPr/>
          </p:nvSpPr>
          <p:spPr>
            <a:xfrm>
              <a:off x="5752526" y="3668813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NGINX</a:t>
              </a:r>
            </a:p>
          </p:txBody>
        </p:sp>
        <p:sp>
          <p:nvSpPr>
            <p:cNvPr id="14" name="Abgerundetes Rechteck 13"/>
            <p:cNvSpPr/>
            <p:nvPr/>
          </p:nvSpPr>
          <p:spPr>
            <a:xfrm>
              <a:off x="7920128" y="3668813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NGINX</a:t>
              </a:r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6829960" y="5065404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MySQL</a:t>
              </a:r>
            </a:p>
          </p:txBody>
        </p:sp>
        <p:cxnSp>
          <p:nvCxnSpPr>
            <p:cNvPr id="16" name="Gerader Verbinder 15"/>
            <p:cNvCxnSpPr>
              <a:stCxn id="12" idx="2"/>
              <a:endCxn id="13" idx="0"/>
            </p:cNvCxnSpPr>
            <p:nvPr/>
          </p:nvCxnSpPr>
          <p:spPr>
            <a:xfrm flipH="1">
              <a:off x="6746670" y="2555510"/>
              <a:ext cx="1034607" cy="1113303"/>
            </a:xfrm>
            <a:prstGeom prst="line">
              <a:avLst/>
            </a:prstGeom>
            <a:ln w="31750" cmpd="sng">
              <a:solidFill>
                <a:schemeClr val="tx2"/>
              </a:solidFill>
              <a:headEnd w="lg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/>
            <p:cNvCxnSpPr>
              <a:stCxn id="12" idx="2"/>
              <a:endCxn id="14" idx="0"/>
            </p:cNvCxnSpPr>
            <p:nvPr/>
          </p:nvCxnSpPr>
          <p:spPr>
            <a:xfrm>
              <a:off x="7781277" y="2555510"/>
              <a:ext cx="1132995" cy="1113303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/>
            <p:cNvCxnSpPr>
              <a:endCxn id="12" idx="0"/>
            </p:cNvCxnSpPr>
            <p:nvPr/>
          </p:nvCxnSpPr>
          <p:spPr>
            <a:xfrm>
              <a:off x="7781277" y="1717654"/>
              <a:ext cx="0" cy="417288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mit Pfeil 18"/>
            <p:cNvCxnSpPr>
              <a:stCxn id="13" idx="2"/>
              <a:endCxn id="15" idx="0"/>
            </p:cNvCxnSpPr>
            <p:nvPr/>
          </p:nvCxnSpPr>
          <p:spPr>
            <a:xfrm>
              <a:off x="6746670" y="4089381"/>
              <a:ext cx="1077434" cy="976023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mit Pfeil 19"/>
            <p:cNvCxnSpPr>
              <a:stCxn id="14" idx="2"/>
              <a:endCxn id="15" idx="0"/>
            </p:cNvCxnSpPr>
            <p:nvPr/>
          </p:nvCxnSpPr>
          <p:spPr>
            <a:xfrm flipH="1">
              <a:off x="7824104" y="4089381"/>
              <a:ext cx="1090168" cy="976023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feld 20"/>
            <p:cNvSpPr txBox="1"/>
            <p:nvPr/>
          </p:nvSpPr>
          <p:spPr>
            <a:xfrm>
              <a:off x="7285387" y="1369171"/>
              <a:ext cx="110382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HTTP 80</a:t>
              </a:r>
              <a:endParaRPr lang="de-DE" dirty="0"/>
            </a:p>
          </p:txBody>
        </p:sp>
        <p:sp>
          <p:nvSpPr>
            <p:cNvPr id="22" name="Abgerundetes Rechteck 21"/>
            <p:cNvSpPr/>
            <p:nvPr/>
          </p:nvSpPr>
          <p:spPr>
            <a:xfrm>
              <a:off x="8914272" y="2134942"/>
              <a:ext cx="1988288" cy="420568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err="1" smtClean="0"/>
                <a:t>HAproxy</a:t>
              </a:r>
              <a:r>
                <a:rPr lang="de-DE" dirty="0" smtClean="0"/>
                <a:t> </a:t>
              </a:r>
              <a:r>
                <a:rPr lang="de-DE" sz="1400" dirty="0" smtClean="0"/>
                <a:t>(</a:t>
              </a:r>
              <a:r>
                <a:rPr lang="de-DE" sz="1400" dirty="0" err="1" smtClean="0"/>
                <a:t>standby</a:t>
              </a:r>
              <a:r>
                <a:rPr lang="de-DE" sz="1400" dirty="0" smtClean="0"/>
                <a:t>)</a:t>
              </a:r>
            </a:p>
          </p:txBody>
        </p:sp>
        <p:sp>
          <p:nvSpPr>
            <p:cNvPr id="23" name="Abgerundetes Rechteck 22"/>
            <p:cNvSpPr/>
            <p:nvPr/>
          </p:nvSpPr>
          <p:spPr>
            <a:xfrm>
              <a:off x="6558532" y="1982598"/>
              <a:ext cx="4433778" cy="797816"/>
            </a:xfrm>
            <a:prstGeom prst="roundRect">
              <a:avLst/>
            </a:prstGeom>
            <a:noFill/>
            <a:ln w="28575">
              <a:solidFill>
                <a:schemeClr val="bg2">
                  <a:lumMod val="2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8863595" y="3130035"/>
              <a:ext cx="131959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i="1" dirty="0" err="1" smtClean="0"/>
                <a:t>Scaling</a:t>
              </a:r>
              <a:r>
                <a:rPr lang="de-DE" sz="1400" i="1" dirty="0" smtClean="0"/>
                <a:t> Group</a:t>
              </a:r>
              <a:endParaRPr lang="de-DE" sz="1400" i="1" dirty="0"/>
            </a:p>
          </p:txBody>
        </p:sp>
        <p:sp>
          <p:nvSpPr>
            <p:cNvPr id="25" name="Textfeld 24"/>
            <p:cNvSpPr txBox="1"/>
            <p:nvPr/>
          </p:nvSpPr>
          <p:spPr>
            <a:xfrm>
              <a:off x="8530576" y="1668117"/>
              <a:ext cx="247670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i="1" dirty="0" smtClean="0"/>
                <a:t>High </a:t>
              </a:r>
              <a:r>
                <a:rPr lang="de-DE" sz="1400" i="1" dirty="0" err="1" smtClean="0"/>
                <a:t>Availability</a:t>
              </a:r>
              <a:r>
                <a:rPr lang="de-DE" sz="1400" i="1" dirty="0" smtClean="0"/>
                <a:t> / Replication</a:t>
              </a:r>
              <a:endParaRPr lang="de-DE" sz="1400" i="1" dirty="0"/>
            </a:p>
          </p:txBody>
        </p:sp>
        <p:sp>
          <p:nvSpPr>
            <p:cNvPr id="26" name="Abgerundetes Rechteck 25"/>
            <p:cNvSpPr/>
            <p:nvPr/>
          </p:nvSpPr>
          <p:spPr>
            <a:xfrm>
              <a:off x="6621848" y="4898927"/>
              <a:ext cx="2314670" cy="741645"/>
            </a:xfrm>
            <a:prstGeom prst="roundRect">
              <a:avLst/>
            </a:prstGeom>
            <a:noFill/>
            <a:ln w="28575">
              <a:solidFill>
                <a:schemeClr val="bg2">
                  <a:lumMod val="2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8223036" y="4609200"/>
              <a:ext cx="79220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i="1" dirty="0" err="1" smtClean="0"/>
                <a:t>Stateful</a:t>
              </a:r>
              <a:endParaRPr lang="de-DE" sz="1400" i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99072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cker Compos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6186" y="1329050"/>
            <a:ext cx="3809910" cy="375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890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/>
          <p:cNvSpPr/>
          <p:nvPr/>
        </p:nvSpPr>
        <p:spPr>
          <a:xfrm>
            <a:off x="3756922" y="1935078"/>
            <a:ext cx="7520678" cy="40005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cker Compose Overvie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2988" y="1935078"/>
            <a:ext cx="3809910" cy="375004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9129883" y="3105829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8" name="Rectangle 7"/>
          <p:cNvSpPr/>
          <p:nvPr/>
        </p:nvSpPr>
        <p:spPr>
          <a:xfrm>
            <a:off x="9129883" y="4111930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9" name="Rectangle 8"/>
          <p:cNvSpPr/>
          <p:nvPr/>
        </p:nvSpPr>
        <p:spPr>
          <a:xfrm>
            <a:off x="9129883" y="5118031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 err="1" smtClean="0"/>
          </a:p>
        </p:txBody>
      </p:sp>
      <p:sp>
        <p:nvSpPr>
          <p:cNvPr id="10" name="Rectangle 9"/>
          <p:cNvSpPr/>
          <p:nvPr/>
        </p:nvSpPr>
        <p:spPr>
          <a:xfrm>
            <a:off x="5729379" y="3239087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1" name="TextBox 10"/>
          <p:cNvSpPr txBox="1"/>
          <p:nvPr/>
        </p:nvSpPr>
        <p:spPr>
          <a:xfrm>
            <a:off x="9317721" y="3204706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image</a:t>
            </a:r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9317720" y="4210807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image</a:t>
            </a:r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9317719" y="5216908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image</a:t>
            </a:r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754151" y="4557859"/>
            <a:ext cx="1188720" cy="567087"/>
          </a:xfrm>
          <a:prstGeom prst="rect">
            <a:avLst/>
          </a:prstGeom>
          <a:solidFill>
            <a:srgbClr val="2AB7FF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6" name="TextBox 15"/>
          <p:cNvSpPr txBox="1"/>
          <p:nvPr/>
        </p:nvSpPr>
        <p:spPr>
          <a:xfrm>
            <a:off x="8529989" y="2142424"/>
            <a:ext cx="23519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 smtClean="0"/>
              <a:t>Images from </a:t>
            </a:r>
            <a:r>
              <a:rPr lang="en-US" i="1" smtClean="0"/>
              <a:t>registry </a:t>
            </a:r>
            <a:br>
              <a:rPr lang="en-US" i="1" smtClean="0"/>
            </a:br>
            <a:r>
              <a:rPr lang="en-US" i="1" smtClean="0"/>
              <a:t>or local repo</a:t>
            </a:r>
            <a:endParaRPr lang="en-US" i="1"/>
          </a:p>
        </p:txBody>
      </p:sp>
      <p:sp>
        <p:nvSpPr>
          <p:cNvPr id="17" name="TextBox 16"/>
          <p:cNvSpPr txBox="1"/>
          <p:nvPr/>
        </p:nvSpPr>
        <p:spPr>
          <a:xfrm>
            <a:off x="5704607" y="3318412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Dockerfile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5729379" y="4693312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Dockerfile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5493147" y="2142424"/>
            <a:ext cx="17107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 smtClean="0"/>
              <a:t>Recipe to build</a:t>
            </a:r>
            <a:br>
              <a:rPr lang="en-US" i="1" dirty="0" smtClean="0"/>
            </a:br>
            <a:r>
              <a:rPr lang="en-US" i="1" dirty="0" smtClean="0"/>
              <a:t>an image</a:t>
            </a:r>
            <a:endParaRPr lang="en-US" i="1" dirty="0"/>
          </a:p>
        </p:txBody>
      </p:sp>
      <p:sp>
        <p:nvSpPr>
          <p:cNvPr id="20" name="Oval 19"/>
          <p:cNvSpPr/>
          <p:nvPr/>
        </p:nvSpPr>
        <p:spPr>
          <a:xfrm>
            <a:off x="5898453" y="4454887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2" name="Oval 21"/>
          <p:cNvSpPr/>
          <p:nvPr/>
        </p:nvSpPr>
        <p:spPr>
          <a:xfrm>
            <a:off x="5998664" y="3127535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3" name="Oval 22"/>
          <p:cNvSpPr/>
          <p:nvPr/>
        </p:nvSpPr>
        <p:spPr>
          <a:xfrm>
            <a:off x="9004346" y="4276260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4" name="Oval 23"/>
          <p:cNvSpPr/>
          <p:nvPr/>
        </p:nvSpPr>
        <p:spPr>
          <a:xfrm>
            <a:off x="9001490" y="5282361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5" name="Oval 24"/>
          <p:cNvSpPr/>
          <p:nvPr/>
        </p:nvSpPr>
        <p:spPr>
          <a:xfrm>
            <a:off x="8996590" y="3252520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6" name="TextBox 25"/>
          <p:cNvSpPr txBox="1"/>
          <p:nvPr/>
        </p:nvSpPr>
        <p:spPr>
          <a:xfrm>
            <a:off x="6042476" y="4205855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Ports</a:t>
            </a:r>
            <a:endParaRPr lang="en-US" dirty="0">
              <a:solidFill>
                <a:srgbClr val="0070C0"/>
              </a:solidFill>
            </a:endParaRPr>
          </a:p>
        </p:txBody>
      </p:sp>
      <p:cxnSp>
        <p:nvCxnSpPr>
          <p:cNvPr id="28" name="Straight Arrow Connector 27"/>
          <p:cNvCxnSpPr>
            <a:endCxn id="20" idx="0"/>
          </p:cNvCxnSpPr>
          <p:nvPr/>
        </p:nvCxnSpPr>
        <p:spPr>
          <a:xfrm>
            <a:off x="5998664" y="3822414"/>
            <a:ext cx="9517" cy="63247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5997932" y="3855082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Links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6449910" y="3127534"/>
            <a:ext cx="219456" cy="23842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cxnSp>
        <p:nvCxnSpPr>
          <p:cNvPr id="36" name="Straight Arrow Connector 35"/>
          <p:cNvCxnSpPr>
            <a:stCxn id="10" idx="3"/>
            <a:endCxn id="25" idx="2"/>
          </p:cNvCxnSpPr>
          <p:nvPr/>
        </p:nvCxnSpPr>
        <p:spPr>
          <a:xfrm flipV="1">
            <a:off x="6918099" y="3371733"/>
            <a:ext cx="2078491" cy="150898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17" idx="3"/>
            <a:endCxn id="23" idx="2"/>
          </p:cNvCxnSpPr>
          <p:nvPr/>
        </p:nvCxnSpPr>
        <p:spPr>
          <a:xfrm>
            <a:off x="6915195" y="3503078"/>
            <a:ext cx="2089151" cy="892395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>
            <a:stCxn id="18" idx="3"/>
            <a:endCxn id="24" idx="2"/>
          </p:cNvCxnSpPr>
          <p:nvPr/>
        </p:nvCxnSpPr>
        <p:spPr>
          <a:xfrm>
            <a:off x="6939967" y="4877978"/>
            <a:ext cx="2061523" cy="523596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endCxn id="26" idx="3"/>
          </p:cNvCxnSpPr>
          <p:nvPr/>
        </p:nvCxnSpPr>
        <p:spPr>
          <a:xfrm flipH="1" flipV="1">
            <a:off x="6765751" y="4390521"/>
            <a:ext cx="2361228" cy="184666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Right Arrow 52"/>
          <p:cNvSpPr/>
          <p:nvPr/>
        </p:nvSpPr>
        <p:spPr>
          <a:xfrm>
            <a:off x="5493147" y="4645187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4" name="Right Arrow 53"/>
          <p:cNvSpPr/>
          <p:nvPr/>
        </p:nvSpPr>
        <p:spPr>
          <a:xfrm flipH="1">
            <a:off x="10319883" y="3204706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5" name="Right Arrow 54"/>
          <p:cNvSpPr/>
          <p:nvPr/>
        </p:nvSpPr>
        <p:spPr>
          <a:xfrm flipH="1">
            <a:off x="10319883" y="4209303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6" name="Right Arrow 55"/>
          <p:cNvSpPr/>
          <p:nvPr/>
        </p:nvSpPr>
        <p:spPr>
          <a:xfrm flipH="1">
            <a:off x="10318598" y="5228438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7" name="Right Arrow 56"/>
          <p:cNvSpPr/>
          <p:nvPr/>
        </p:nvSpPr>
        <p:spPr>
          <a:xfrm>
            <a:off x="5437015" y="3330577"/>
            <a:ext cx="284110" cy="38649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58" name="TextBox 57"/>
          <p:cNvSpPr txBox="1"/>
          <p:nvPr/>
        </p:nvSpPr>
        <p:spPr>
          <a:xfrm>
            <a:off x="3917371" y="3176083"/>
            <a:ext cx="15183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Startup CMD</a:t>
            </a:r>
          </a:p>
          <a:p>
            <a:r>
              <a:rPr lang="en-US" dirty="0" smtClean="0">
                <a:solidFill>
                  <a:srgbClr val="0070C0"/>
                </a:solidFill>
              </a:rPr>
              <a:t>&amp; ENVVARs</a:t>
            </a:r>
            <a:endParaRPr lang="en-US" dirty="0">
              <a:solidFill>
                <a:srgbClr val="0070C0"/>
              </a:solidFill>
            </a:endParaRPr>
          </a:p>
        </p:txBody>
      </p:sp>
      <p:cxnSp>
        <p:nvCxnSpPr>
          <p:cNvPr id="60" name="Straight Arrow Connector 59"/>
          <p:cNvCxnSpPr/>
          <p:nvPr/>
        </p:nvCxnSpPr>
        <p:spPr>
          <a:xfrm flipV="1">
            <a:off x="6893663" y="3144889"/>
            <a:ext cx="2220411" cy="176610"/>
          </a:xfrm>
          <a:prstGeom prst="straightConnector1">
            <a:avLst/>
          </a:prstGeom>
          <a:ln w="31750" cmpd="sng">
            <a:solidFill>
              <a:schemeClr val="tx2"/>
            </a:solidFill>
            <a:prstDash val="sysDot"/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 rot="21384905">
            <a:off x="6891438" y="2788024"/>
            <a:ext cx="2249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>
                <a:solidFill>
                  <a:srgbClr val="0070C0"/>
                </a:solidFill>
              </a:rPr>
              <a:t>Startup dependency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63" name="Can 62"/>
          <p:cNvSpPr/>
          <p:nvPr/>
        </p:nvSpPr>
        <p:spPr>
          <a:xfrm>
            <a:off x="4430936" y="3985560"/>
            <a:ext cx="642273" cy="355700"/>
          </a:xfrm>
          <a:prstGeom prst="ca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cxnSp>
        <p:nvCxnSpPr>
          <p:cNvPr id="64" name="Straight Arrow Connector 63"/>
          <p:cNvCxnSpPr/>
          <p:nvPr/>
        </p:nvCxnSpPr>
        <p:spPr>
          <a:xfrm flipH="1">
            <a:off x="5107504" y="3814294"/>
            <a:ext cx="639719" cy="240912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4223321" y="4341260"/>
            <a:ext cx="1069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>
                <a:solidFill>
                  <a:srgbClr val="0070C0"/>
                </a:solidFill>
              </a:rPr>
              <a:t>Volumes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68" name="Rechteck 11"/>
          <p:cNvSpPr/>
          <p:nvPr/>
        </p:nvSpPr>
        <p:spPr>
          <a:xfrm>
            <a:off x="5073209" y="5987281"/>
            <a:ext cx="50450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3"/>
              </a:rPr>
              <a:t>https://</a:t>
            </a:r>
            <a:r>
              <a:rPr lang="de-DE" dirty="0" smtClean="0">
                <a:hlinkClick r:id="rId3"/>
              </a:rPr>
              <a:t>docs.docker.com/compose/compose-file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69" name="Rechteck 10"/>
          <p:cNvSpPr/>
          <p:nvPr/>
        </p:nvSpPr>
        <p:spPr>
          <a:xfrm>
            <a:off x="5073209" y="6294467"/>
            <a:ext cx="47116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4"/>
              </a:rPr>
              <a:t>https://</a:t>
            </a:r>
            <a:r>
              <a:rPr lang="de-DE" dirty="0" smtClean="0">
                <a:hlinkClick r:id="rId4"/>
              </a:rPr>
              <a:t>docs.docker.com/compose/reference</a:t>
            </a:r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975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pose</a:t>
            </a:r>
            <a:r>
              <a:rPr lang="de-DE" dirty="0" smtClean="0"/>
              <a:t>: Building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Wiring</a:t>
            </a:r>
            <a:r>
              <a:rPr lang="de-DE" dirty="0" smtClean="0"/>
              <a:t> Multiple Containers </a:t>
            </a:r>
            <a:r>
              <a:rPr lang="de-DE" dirty="0" err="1" smtClean="0"/>
              <a:t>Locally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499197" y="1084743"/>
            <a:ext cx="1147944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Source Code Pro" charset="0"/>
                <a:ea typeface="Source Code Pro" charset="0"/>
                <a:cs typeface="Source Code Pro" charset="0"/>
              </a:rPr>
              <a:t>version: '2' </a:t>
            </a:r>
            <a:endParaRPr lang="en-US" sz="16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r>
              <a:rPr lang="en-US" sz="1600" dirty="0" smtClean="0">
                <a:latin typeface="Source Code Pro" charset="0"/>
                <a:ea typeface="Source Code Pro" charset="0"/>
                <a:cs typeface="Source Code Pro" charset="0"/>
              </a:rPr>
              <a:t>services</a:t>
            </a:r>
            <a:r>
              <a:rPr lang="en-US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  <a:endParaRPr lang="de-DE" sz="1600" b="1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b="1" dirty="0" err="1" smtClean="0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r>
              <a:rPr lang="de-DE" sz="1600" b="1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imag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gliderlab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/consul-server:0.6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mmand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 "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ata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-dir /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tmp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/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bootstrap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expect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1 -server 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ui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nod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=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-server"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environment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GOMAXPROCS=10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port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8300:8300"     #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server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 Server RPC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addres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. Default 8300.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8500:8500"     #http - The HTTP API, -1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to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isabl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. Default 8500.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8600:8600/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udp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" #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n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- The DNS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server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, -1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to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disable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. Default 8600.</a:t>
            </a:r>
          </a:p>
          <a:p>
            <a:pPr lvl="1"/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b="1" dirty="0" err="1">
                <a:latin typeface="Source Code Pro" charset="0"/>
                <a:ea typeface="Source Code Pro" charset="0"/>
                <a:cs typeface="Source Code Pro" charset="0"/>
              </a:rPr>
              <a:t>zwitscher-chuck</a:t>
            </a:r>
            <a:r>
              <a:rPr lang="de-DE" sz="1600" b="1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build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 </a:t>
            </a:r>
            <a:endParaRPr lang="de-DE" sz="16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	</a:t>
            </a:r>
            <a:r>
              <a:rPr lang="de-DE" sz="1600" dirty="0" err="1" smtClean="0">
                <a:latin typeface="Source Code Pro" charset="0"/>
                <a:ea typeface="Source Code Pro" charset="0"/>
                <a:cs typeface="Source Code Pro" charset="0"/>
              </a:rPr>
              <a:t>context</a:t>
            </a:r>
            <a:r>
              <a:rPr lang="de-DE" sz="1600" dirty="0" smtClean="0">
                <a:latin typeface="Source Code Pro" charset="0"/>
                <a:ea typeface="Source Code Pro" charset="0"/>
                <a:cs typeface="Source Code Pro" charset="0"/>
              </a:rPr>
              <a:t>: ../../</a:t>
            </a:r>
            <a:r>
              <a:rPr lang="de-DE" sz="1600" dirty="0" err="1" smtClean="0">
                <a:latin typeface="Source Code Pro" charset="0"/>
                <a:ea typeface="Source Code Pro" charset="0"/>
                <a:cs typeface="Source Code Pro" charset="0"/>
              </a:rPr>
              <a:t>services</a:t>
            </a:r>
            <a:r>
              <a:rPr lang="de-DE" sz="1600" dirty="0" smtClean="0">
                <a:latin typeface="Source Code Pro" charset="0"/>
                <a:ea typeface="Source Code Pro" charset="0"/>
                <a:cs typeface="Source Code Pro" charset="0"/>
              </a:rPr>
              <a:t>/</a:t>
            </a:r>
            <a:r>
              <a:rPr lang="de-DE" sz="1600" dirty="0" err="1" smtClean="0">
                <a:latin typeface="Source Code Pro" charset="0"/>
                <a:ea typeface="Source Code Pro" charset="0"/>
                <a:cs typeface="Source Code Pro" charset="0"/>
              </a:rPr>
              <a:t>zwitscher-app-chuck</a:t>
            </a:r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ports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"12340:12340"   #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huck</a:t>
            </a:r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REST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service</a:t>
            </a:r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links:</a:t>
            </a:r>
          </a:p>
          <a:p>
            <a:pPr lvl="1"/>
            <a:r>
              <a:rPr lang="de-DE" sz="1600" dirty="0">
                <a:latin typeface="Source Code Pro" charset="0"/>
                <a:ea typeface="Source Code Pro" charset="0"/>
                <a:cs typeface="Source Code Pro" charset="0"/>
              </a:rPr>
              <a:t>    - </a:t>
            </a:r>
            <a:r>
              <a:rPr lang="de-DE" sz="1600" dirty="0" err="1">
                <a:latin typeface="Source Code Pro" charset="0"/>
                <a:ea typeface="Source Code Pro" charset="0"/>
                <a:cs typeface="Source Code Pro" charset="0"/>
              </a:rPr>
              <a:t>consul</a:t>
            </a:r>
            <a:endParaRPr lang="de-DE" sz="1600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6410029" y="5320463"/>
            <a:ext cx="5147563" cy="923330"/>
          </a:xfrm>
          <a:prstGeom prst="rect">
            <a:avLst/>
          </a:prstGeom>
          <a:solidFill>
            <a:srgbClr val="FFFFCC"/>
          </a:solidFill>
        </p:spPr>
        <p:txBody>
          <a:bodyPr wrap="none">
            <a:spAutoFit/>
          </a:bodyPr>
          <a:lstStyle/>
          <a:p>
            <a:r>
              <a:rPr lang="de-DE" dirty="0" err="1">
                <a:solidFill>
                  <a:srgbClr val="333333"/>
                </a:solidFill>
                <a:latin typeface="Source Code Pro" panose="020B0509030403020204" pitchFamily="49" charset="0"/>
              </a:rPr>
              <a:t>docker-compose</a:t>
            </a:r>
            <a:r>
              <a:rPr lang="de-DE" dirty="0">
                <a:solidFill>
                  <a:srgbClr val="333333"/>
                </a:solidFill>
                <a:latin typeface="Source Code Pro" panose="020B0509030403020204" pitchFamily="49" charset="0"/>
              </a:rPr>
              <a:t> -f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 smtClean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build</a:t>
            </a:r>
            <a:endParaRPr lang="de-DE" dirty="0" smtClean="0">
              <a:solidFill>
                <a:srgbClr val="333333"/>
              </a:solidFill>
              <a:latin typeface="Source Code Pro" panose="020B0509030403020204" pitchFamily="49" charset="0"/>
            </a:endParaRPr>
          </a:p>
          <a:p>
            <a:r>
              <a:rPr lang="en-US" dirty="0" err="1">
                <a:latin typeface="Source Code Pro" panose="020B0509030403020204" pitchFamily="49" charset="0"/>
              </a:rPr>
              <a:t>docker</a:t>
            </a:r>
            <a:r>
              <a:rPr lang="en-US" dirty="0">
                <a:latin typeface="Source Code Pro" panose="020B0509030403020204" pitchFamily="49" charset="0"/>
              </a:rPr>
              <a:t>-compose -f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 smtClean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en-US" dirty="0" smtClean="0">
                <a:latin typeface="Source Code Pro" panose="020B0509030403020204" pitchFamily="49" charset="0"/>
              </a:rPr>
              <a:t>up –d</a:t>
            </a:r>
          </a:p>
          <a:p>
            <a:r>
              <a:rPr lang="de-DE" dirty="0" err="1">
                <a:latin typeface="Source Code Pro" panose="020B0509030403020204" pitchFamily="49" charset="0"/>
              </a:rPr>
              <a:t>docker-compose</a:t>
            </a:r>
            <a:r>
              <a:rPr lang="de-DE" dirty="0">
                <a:latin typeface="Source Code Pro" panose="020B0509030403020204" pitchFamily="49" charset="0"/>
              </a:rPr>
              <a:t> -f </a:t>
            </a:r>
            <a:r>
              <a:rPr lang="de-DE" dirty="0" err="1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de-DE" dirty="0" err="1" smtClean="0">
                <a:latin typeface="Source Code Pro" panose="020B0509030403020204" pitchFamily="49" charset="0"/>
              </a:rPr>
              <a:t>ps</a:t>
            </a:r>
            <a:endParaRPr lang="de-DE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463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424748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434088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3636956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047322" y="1486632"/>
            <a:ext cx="2278517" cy="1551381"/>
            <a:chOff x="5962261" y="1849840"/>
            <a:chExt cx="2278517" cy="1551381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62261" y="1849840"/>
              <a:ext cx="1576149" cy="1551381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7119958" y="1999270"/>
              <a:ext cx="112082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/>
                <a:t>d</a:t>
              </a:r>
              <a:r>
                <a:rPr lang="en-US" dirty="0" err="1" smtClean="0"/>
                <a:t>ocker</a:t>
              </a:r>
              <a:r>
                <a:rPr lang="en-US" dirty="0" smtClean="0"/>
                <a:t> </a:t>
              </a:r>
            </a:p>
            <a:p>
              <a:r>
                <a:rPr lang="en-US" dirty="0" smtClean="0"/>
                <a:t>compose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4559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9124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56634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9" name="Rechteck 4"/>
          <p:cNvSpPr/>
          <p:nvPr/>
        </p:nvSpPr>
        <p:spPr>
          <a:xfrm>
            <a:off x="1267446" y="3658859"/>
            <a:ext cx="9144587" cy="19764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4505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09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1141" b="46564"/>
          <a:stretch/>
        </p:blipFill>
        <p:spPr>
          <a:xfrm>
            <a:off x="1266683" y="1436618"/>
            <a:ext cx="10326603" cy="362023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152400" y="1879600"/>
            <a:ext cx="1839686" cy="881743"/>
          </a:xfrm>
          <a:prstGeom prst="wedgeRoundRectCallout">
            <a:avLst>
              <a:gd name="adj1" fmla="val 78575"/>
              <a:gd name="adj2" fmla="val -155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cces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outside?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152400" y="3686629"/>
            <a:ext cx="1839686" cy="881743"/>
          </a:xfrm>
          <a:prstGeom prst="wedgeRoundRectCallout">
            <a:avLst>
              <a:gd name="adj1" fmla="val 67924"/>
              <a:gd name="adj2" fmla="val -63648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pos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find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? 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2427514" y="4417636"/>
            <a:ext cx="1839686" cy="881743"/>
          </a:xfrm>
          <a:prstGeom prst="wedgeRoundRectCallout">
            <a:avLst>
              <a:gd name="adj1" fmla="val 107569"/>
              <a:gd name="adj2" fmla="val -9574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e</a:t>
            </a:r>
            <a:r>
              <a:rPr lang="de-DE" sz="1600" dirty="0" smtClean="0">
                <a:solidFill>
                  <a:schemeClr val="tx1"/>
                </a:solidFill>
              </a:rPr>
              <a:t> an </a:t>
            </a:r>
            <a:r>
              <a:rPr lang="de-DE" sz="1600" dirty="0" err="1" smtClean="0">
                <a:solidFill>
                  <a:schemeClr val="tx1"/>
                </a:solidFill>
              </a:rPr>
              <a:t>op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mponent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8" name="Abgerundete rechteckige Legende 7"/>
          <p:cNvSpPr/>
          <p:nvPr/>
        </p:nvSpPr>
        <p:spPr>
          <a:xfrm>
            <a:off x="8240486" y="4065514"/>
            <a:ext cx="1981200" cy="881743"/>
          </a:xfrm>
          <a:prstGeom prst="wedgeRoundRectCallout">
            <a:avLst>
              <a:gd name="adj1" fmla="val -79793"/>
              <a:gd name="adj2" fmla="val -8216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al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th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ilien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ponsiv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9" name="Abgerundete rechteckige Legende 8"/>
          <p:cNvSpPr/>
          <p:nvPr/>
        </p:nvSpPr>
        <p:spPr>
          <a:xfrm>
            <a:off x="10025743" y="3472243"/>
            <a:ext cx="2122713" cy="881743"/>
          </a:xfrm>
          <a:prstGeom prst="wedgeRoundRectCallout">
            <a:avLst>
              <a:gd name="adj1" fmla="val -77119"/>
              <a:gd name="adj2" fmla="val -9698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tec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lve</a:t>
            </a:r>
            <a:r>
              <a:rPr lang="de-DE" sz="1600" dirty="0" smtClean="0">
                <a:solidFill>
                  <a:schemeClr val="tx1"/>
                </a:solidFill>
              </a:rPr>
              <a:t> operational </a:t>
            </a:r>
            <a:r>
              <a:rPr lang="de-DE" sz="1600" dirty="0" err="1" smtClean="0">
                <a:solidFill>
                  <a:schemeClr val="tx1"/>
                </a:solidFill>
              </a:rPr>
              <a:t>anomali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0" name="Abgerundete rechteckige Legende 9"/>
          <p:cNvSpPr/>
          <p:nvPr/>
        </p:nvSpPr>
        <p:spPr>
          <a:xfrm>
            <a:off x="5255844" y="1628451"/>
            <a:ext cx="2558141" cy="881743"/>
          </a:xfrm>
          <a:prstGeom prst="wedgeRoundRectCallout">
            <a:avLst>
              <a:gd name="adj1" fmla="val -6153"/>
              <a:gd name="adj2" fmla="val 2574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cluster-</a:t>
            </a:r>
            <a:r>
              <a:rPr lang="de-DE" sz="1600" dirty="0" err="1" smtClean="0">
                <a:solidFill>
                  <a:schemeClr val="tx1"/>
                </a:solidFill>
              </a:rPr>
              <a:t>w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figuratio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sensu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02020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6307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0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6"/>
          <a:srcRect t="1141" b="46564"/>
          <a:stretch/>
        </p:blipFill>
        <p:spPr>
          <a:xfrm>
            <a:off x="2434136" y="3623177"/>
            <a:ext cx="7864065" cy="2756933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>
          <a:xfrm>
            <a:off x="4065795" y="172278"/>
            <a:ext cx="2427770" cy="3166212"/>
            <a:chOff x="4065795" y="172278"/>
            <a:chExt cx="2427770" cy="3166212"/>
          </a:xfrm>
        </p:grpSpPr>
        <p:sp>
          <p:nvSpPr>
            <p:cNvPr id="17" name="Abgerundete rechteckige Legende 16"/>
            <p:cNvSpPr/>
            <p:nvPr/>
          </p:nvSpPr>
          <p:spPr>
            <a:xfrm>
              <a:off x="4065795" y="172278"/>
              <a:ext cx="2427770" cy="3166212"/>
            </a:xfrm>
            <a:prstGeom prst="wedgeRoundRectCallout">
              <a:avLst>
                <a:gd name="adj1" fmla="val -42454"/>
                <a:gd name="adj2" fmla="val 95565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4289908" y="1333595"/>
              <a:ext cx="982961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2000" dirty="0" err="1" smtClean="0">
                  <a:latin typeface="Alegreya Sans Black" panose="00000A00000000000000" pitchFamily="2" charset="0"/>
                </a:rPr>
                <a:t>Netflix</a:t>
              </a:r>
              <a:r>
                <a:rPr lang="de-DE" sz="2000" dirty="0" smtClean="0">
                  <a:latin typeface="Alegreya Sans Black" panose="00000A00000000000000" pitchFamily="2" charset="0"/>
                </a:rPr>
                <a:t> </a:t>
              </a:r>
              <a:br>
                <a:rPr lang="de-DE" sz="2000" dirty="0" smtClean="0">
                  <a:latin typeface="Alegreya Sans Black" panose="00000A00000000000000" pitchFamily="2" charset="0"/>
                </a:rPr>
              </a:br>
              <a:r>
                <a:rPr lang="de-DE" sz="2000" dirty="0" err="1" smtClean="0">
                  <a:latin typeface="Alegreya Sans Black" panose="00000A00000000000000" pitchFamily="2" charset="0"/>
                </a:rPr>
                <a:t>Eureka</a:t>
              </a:r>
              <a:endParaRPr lang="de-DE" sz="2000" dirty="0">
                <a:latin typeface="Alegreya Sans Black" panose="00000A00000000000000" pitchFamily="2" charset="0"/>
              </a:endParaRPr>
            </a:p>
          </p:txBody>
        </p:sp>
        <p:pic>
          <p:nvPicPr>
            <p:cNvPr id="13325" name="Picture 13" descr="https://1.bp.blogspot.com/-eRVgfjj-Ukc/VwgO6QWlhwI/AAAAAAAAWv4/n2uUfX_SqJAVQoquqKdNMi8Q81em6wtLQ/s1600/consul.pn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57"/>
            <a:stretch/>
          </p:blipFill>
          <p:spPr bwMode="auto">
            <a:xfrm>
              <a:off x="4184705" y="450777"/>
              <a:ext cx="1845034" cy="711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178782" y="2297336"/>
              <a:ext cx="2187386" cy="531514"/>
            </a:xfrm>
            <a:prstGeom prst="rect">
              <a:avLst/>
            </a:prstGeom>
          </p:spPr>
        </p:pic>
      </p:grpSp>
      <p:grpSp>
        <p:nvGrpSpPr>
          <p:cNvPr id="16" name="Gruppieren 15"/>
          <p:cNvGrpSpPr/>
          <p:nvPr/>
        </p:nvGrpSpPr>
        <p:grpSpPr>
          <a:xfrm>
            <a:off x="6684359" y="172278"/>
            <a:ext cx="2427770" cy="3166212"/>
            <a:chOff x="6684359" y="172278"/>
            <a:chExt cx="2427770" cy="3166212"/>
          </a:xfrm>
        </p:grpSpPr>
        <p:sp>
          <p:nvSpPr>
            <p:cNvPr id="21" name="Abgerundete rechteckige Legende 20"/>
            <p:cNvSpPr/>
            <p:nvPr/>
          </p:nvSpPr>
          <p:spPr>
            <a:xfrm>
              <a:off x="6684359" y="172278"/>
              <a:ext cx="2427770" cy="3166212"/>
            </a:xfrm>
            <a:prstGeom prst="wedgeRoundRectCallout">
              <a:avLst>
                <a:gd name="adj1" fmla="val -51188"/>
                <a:gd name="adj2" fmla="val 130305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3327" name="Picture 15" descr="http://hortonworks.com/wp-content/uploads/2016/03/zookeeper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2165" y="368336"/>
              <a:ext cx="1166647" cy="10548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feld 22"/>
            <p:cNvSpPr txBox="1"/>
            <p:nvPr/>
          </p:nvSpPr>
          <p:spPr>
            <a:xfrm>
              <a:off x="6802165" y="1340926"/>
              <a:ext cx="133562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2000" dirty="0" err="1" smtClean="0">
                  <a:latin typeface="Alegreya Sans Black" panose="00000A00000000000000" pitchFamily="2" charset="0"/>
                </a:rPr>
                <a:t>Zookeeper</a:t>
              </a:r>
              <a:endParaRPr lang="de-DE" sz="2000" dirty="0">
                <a:latin typeface="Alegreya Sans Black" panose="00000A00000000000000" pitchFamily="2" charset="0"/>
              </a:endParaRPr>
            </a:p>
          </p:txBody>
        </p:sp>
        <p:pic>
          <p:nvPicPr>
            <p:cNvPr id="13329" name="Picture 17" descr="https://coreos.com/assets/images/media/etcd2-0.png"/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735" t="21887" r="28784" b="26356"/>
            <a:stretch/>
          </p:blipFill>
          <p:spPr bwMode="auto">
            <a:xfrm>
              <a:off x="7181502" y="1707896"/>
              <a:ext cx="1723959" cy="7001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3" descr="https://1.bp.blogspot.com/-eRVgfjj-Ukc/VwgO6QWlhwI/AAAAAAAAWv4/n2uUfX_SqJAVQoquqKdNMi8Q81em6wtLQ/s1600/consul.pn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757"/>
            <a:stretch/>
          </p:blipFill>
          <p:spPr bwMode="auto">
            <a:xfrm>
              <a:off x="6802165" y="2517437"/>
              <a:ext cx="1845034" cy="711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uppieren 13"/>
          <p:cNvGrpSpPr/>
          <p:nvPr/>
        </p:nvGrpSpPr>
        <p:grpSpPr>
          <a:xfrm>
            <a:off x="185528" y="172278"/>
            <a:ext cx="3711983" cy="3166212"/>
            <a:chOff x="185528" y="172278"/>
            <a:chExt cx="3711983" cy="3166212"/>
          </a:xfrm>
        </p:grpSpPr>
        <p:pic>
          <p:nvPicPr>
            <p:cNvPr id="13318" name="Picture 6" descr="https://3.bp.blogspot.com/-Tn6rtCHVXwI/VusrwgrFeZI/AAAAAAAAA8k/LtajgfwUSL0cpRjO7bRZfKdFx50HhD6kA/s1600/kong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3978" y="917735"/>
              <a:ext cx="1580322" cy="15803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Abgerundete rechteckige Legende 2"/>
            <p:cNvSpPr/>
            <p:nvPr/>
          </p:nvSpPr>
          <p:spPr>
            <a:xfrm>
              <a:off x="185529" y="172278"/>
              <a:ext cx="3711981" cy="3166212"/>
            </a:xfrm>
            <a:prstGeom prst="wedgeRoundRectCallout">
              <a:avLst>
                <a:gd name="adj1" fmla="val 29277"/>
                <a:gd name="adj2" fmla="val 78405"/>
                <a:gd name="adj3" fmla="val 16667"/>
              </a:avLst>
            </a:prstGeom>
            <a:noFill/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3314" name="Picture 2" descr="https://tyk.io/wp-content/uploads/2016/04/tyk-green.pn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714" y="880871"/>
              <a:ext cx="1450933" cy="5671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16" name="Picture 4" descr="https://traefik.io/traefik.logo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9939" y="1218104"/>
              <a:ext cx="1047572" cy="14049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feld 1"/>
            <p:cNvSpPr txBox="1"/>
            <p:nvPr/>
          </p:nvSpPr>
          <p:spPr>
            <a:xfrm>
              <a:off x="291547" y="1447099"/>
              <a:ext cx="982961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2000" dirty="0" err="1" smtClean="0">
                  <a:latin typeface="Alegreya Sans Black" panose="00000A00000000000000" pitchFamily="2" charset="0"/>
                </a:rPr>
                <a:t>Netflix</a:t>
              </a:r>
              <a:r>
                <a:rPr lang="de-DE" sz="2000" dirty="0" smtClean="0">
                  <a:latin typeface="Alegreya Sans Black" panose="00000A00000000000000" pitchFamily="2" charset="0"/>
                </a:rPr>
                <a:t> </a:t>
              </a:r>
              <a:br>
                <a:rPr lang="de-DE" sz="2000" dirty="0" smtClean="0">
                  <a:latin typeface="Alegreya Sans Black" panose="00000A00000000000000" pitchFamily="2" charset="0"/>
                </a:rPr>
              </a:br>
              <a:r>
                <a:rPr lang="de-DE" sz="2000" dirty="0" err="1" smtClean="0">
                  <a:latin typeface="Alegreya Sans Black" panose="00000A00000000000000" pitchFamily="2" charset="0"/>
                </a:rPr>
                <a:t>Zuul</a:t>
              </a:r>
              <a:endParaRPr lang="de-DE" sz="2000" dirty="0">
                <a:latin typeface="Alegreya Sans Black" panose="00000A00000000000000" pitchFamily="2" charset="0"/>
              </a:endParaRPr>
            </a:p>
          </p:txBody>
        </p:sp>
        <p:pic>
          <p:nvPicPr>
            <p:cNvPr id="13320" name="Picture 8" descr="https://cdn.haproxy.com/static/img/logo.png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710" y="209339"/>
              <a:ext cx="2620989" cy="6203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22" name="Picture 10" descr="https://4.bp.blogspot.com/-AIGJJHemBHU/VsWb0Gs8J-I/AAAAAAAAL2s/OsZ8IYT90a4/s1600/Nginx-Logo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8110" y="2212664"/>
              <a:ext cx="1125826" cy="11258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32" name="Picture 20" descr="./fabio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528" y="2241865"/>
              <a:ext cx="2226578" cy="7624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uppieren 19"/>
          <p:cNvGrpSpPr/>
          <p:nvPr/>
        </p:nvGrpSpPr>
        <p:grpSpPr>
          <a:xfrm>
            <a:off x="8327476" y="5080741"/>
            <a:ext cx="3674786" cy="1699199"/>
            <a:chOff x="8327476" y="5080741"/>
            <a:chExt cx="3674786" cy="1699199"/>
          </a:xfrm>
        </p:grpSpPr>
        <p:sp>
          <p:nvSpPr>
            <p:cNvPr id="27" name="Abgerundete rechteckige Legende 26"/>
            <p:cNvSpPr/>
            <p:nvPr/>
          </p:nvSpPr>
          <p:spPr>
            <a:xfrm>
              <a:off x="8327476" y="5080741"/>
              <a:ext cx="3674786" cy="1699199"/>
            </a:xfrm>
            <a:prstGeom prst="wedgeRoundRectCallout">
              <a:avLst>
                <a:gd name="adj1" fmla="val -27825"/>
                <a:gd name="adj2" fmla="val -63197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8499754" y="5116854"/>
              <a:ext cx="3330229" cy="1546994"/>
            </a:xfrm>
            <a:prstGeom prst="rect">
              <a:avLst/>
            </a:prstGeom>
          </p:spPr>
        </p:pic>
      </p:grpSp>
      <p:grpSp>
        <p:nvGrpSpPr>
          <p:cNvPr id="19" name="Gruppieren 18"/>
          <p:cNvGrpSpPr/>
          <p:nvPr/>
        </p:nvGrpSpPr>
        <p:grpSpPr>
          <a:xfrm>
            <a:off x="8958236" y="157930"/>
            <a:ext cx="2752804" cy="3166212"/>
            <a:chOff x="8958236" y="157930"/>
            <a:chExt cx="2752804" cy="3166212"/>
          </a:xfrm>
        </p:grpSpPr>
        <p:sp>
          <p:nvSpPr>
            <p:cNvPr id="33" name="Abgerundete rechteckige Legende 32"/>
            <p:cNvSpPr/>
            <p:nvPr/>
          </p:nvSpPr>
          <p:spPr>
            <a:xfrm>
              <a:off x="9259039" y="157930"/>
              <a:ext cx="2427770" cy="3166212"/>
            </a:xfrm>
            <a:prstGeom prst="wedgeRoundRectCallout">
              <a:avLst>
                <a:gd name="adj1" fmla="val -135703"/>
                <a:gd name="adj2" fmla="val 98960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3335" name="Picture 23" descr="http://www.kotancode.com/wp-content/uploads/2015/08/springboot.png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1469" y="538999"/>
              <a:ext cx="1741263" cy="5472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37" name="Picture 25" descr="http://wildfly-swarm.io/images/swarm_logo_final.png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58236" y="2071829"/>
              <a:ext cx="2752804" cy="7570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39" name="Picture 27" descr="http://blog.scalac.io/images/logom.png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91466" y="1467323"/>
              <a:ext cx="1766501" cy="451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4958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93210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92150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ps</a:t>
            </a:r>
            <a:r>
              <a:rPr lang="de-DE" dirty="0" smtClean="0"/>
              <a:t> Components </a:t>
            </a:r>
            <a:r>
              <a:rPr lang="de-DE" dirty="0" err="1" smtClean="0"/>
              <a:t>can</a:t>
            </a:r>
            <a:r>
              <a:rPr lang="de-DE" dirty="0" smtClean="0"/>
              <a:t> also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arved</a:t>
            </a:r>
            <a:r>
              <a:rPr lang="de-DE" dirty="0" smtClean="0"/>
              <a:t> ou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lassical</a:t>
            </a:r>
            <a:r>
              <a:rPr lang="de-DE" dirty="0" smtClean="0"/>
              <a:t> Software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82324" y="1614417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GINX</a:t>
            </a:r>
          </a:p>
        </p:txBody>
      </p:sp>
      <p:sp>
        <p:nvSpPr>
          <p:cNvPr id="6" name="Rechteck 5"/>
          <p:cNvSpPr/>
          <p:nvPr/>
        </p:nvSpPr>
        <p:spPr>
          <a:xfrm>
            <a:off x="2182324" y="3309031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Tomcat</a:t>
            </a:r>
            <a:endParaRPr lang="de-DE" dirty="0" smtClean="0"/>
          </a:p>
        </p:txBody>
      </p:sp>
      <p:sp>
        <p:nvSpPr>
          <p:cNvPr id="7" name="Rechteck 6"/>
          <p:cNvSpPr/>
          <p:nvPr/>
        </p:nvSpPr>
        <p:spPr>
          <a:xfrm>
            <a:off x="2182324" y="5003645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ySQL</a:t>
            </a:r>
          </a:p>
        </p:txBody>
      </p:sp>
      <p:sp>
        <p:nvSpPr>
          <p:cNvPr id="8" name="Rechteck 7"/>
          <p:cNvSpPr/>
          <p:nvPr/>
        </p:nvSpPr>
        <p:spPr>
          <a:xfrm>
            <a:off x="9671593" y="1124194"/>
            <a:ext cx="434571" cy="43067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9" name="Textfeld 8"/>
          <p:cNvSpPr txBox="1"/>
          <p:nvPr/>
        </p:nvSpPr>
        <p:spPr>
          <a:xfrm>
            <a:off x="10106164" y="1154865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endParaRPr lang="de-DE" dirty="0"/>
          </a:p>
        </p:txBody>
      </p:sp>
      <p:cxnSp>
        <p:nvCxnSpPr>
          <p:cNvPr id="11" name="Gerade Verbindung mit Pfeil 10"/>
          <p:cNvCxnSpPr>
            <a:stCxn id="5" idx="2"/>
            <a:endCxn id="6" idx="0"/>
          </p:cNvCxnSpPr>
          <p:nvPr/>
        </p:nvCxnSpPr>
        <p:spPr>
          <a:xfrm>
            <a:off x="2876437" y="2886264"/>
            <a:ext cx="0" cy="42276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6" idx="2"/>
            <a:endCxn id="7" idx="0"/>
          </p:cNvCxnSpPr>
          <p:nvPr/>
        </p:nvCxnSpPr>
        <p:spPr>
          <a:xfrm>
            <a:off x="2876437" y="4580878"/>
            <a:ext cx="0" cy="42276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>
          <a:xfrm>
            <a:off x="3753431" y="1973646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7" name="Rechteck 16"/>
          <p:cNvSpPr/>
          <p:nvPr/>
        </p:nvSpPr>
        <p:spPr>
          <a:xfrm>
            <a:off x="4417063" y="1973646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8" name="Rechteck 17"/>
          <p:cNvSpPr/>
          <p:nvPr/>
        </p:nvSpPr>
        <p:spPr>
          <a:xfrm>
            <a:off x="3753431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9" name="Rechteck 18"/>
          <p:cNvSpPr/>
          <p:nvPr/>
        </p:nvSpPr>
        <p:spPr>
          <a:xfrm>
            <a:off x="4417063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0" name="Rechteck 19"/>
          <p:cNvSpPr/>
          <p:nvPr/>
        </p:nvSpPr>
        <p:spPr>
          <a:xfrm>
            <a:off x="5091779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1" name="Rechteck 20"/>
          <p:cNvSpPr/>
          <p:nvPr/>
        </p:nvSpPr>
        <p:spPr>
          <a:xfrm>
            <a:off x="3783361" y="5362874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2" name="Textfeld 21"/>
          <p:cNvSpPr txBox="1"/>
          <p:nvPr/>
        </p:nvSpPr>
        <p:spPr>
          <a:xfrm>
            <a:off x="6059488" y="1646308"/>
            <a:ext cx="298030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dirty="0" err="1"/>
              <a:t>O</a:t>
            </a:r>
            <a:r>
              <a:rPr lang="de-DE" dirty="0" err="1" smtClean="0"/>
              <a:t>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r>
              <a:rPr lang="de-DE" dirty="0" smtClean="0"/>
              <a:t> but </a:t>
            </a:r>
            <a:r>
              <a:rPr lang="de-DE" dirty="0" err="1" smtClean="0"/>
              <a:t>ha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integrated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cloud</a:t>
            </a:r>
            <a:r>
              <a:rPr lang="de-DE" dirty="0" smtClean="0"/>
              <a:t> </a:t>
            </a:r>
            <a:r>
              <a:rPr lang="de-DE" dirty="0" err="1" smtClean="0"/>
              <a:t>infrastructure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Replace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cloud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infrastructure</a:t>
            </a:r>
            <a:endParaRPr lang="de-DE" dirty="0" smtClean="0"/>
          </a:p>
        </p:txBody>
      </p:sp>
      <p:sp>
        <p:nvSpPr>
          <p:cNvPr id="23" name="Textfeld 22"/>
          <p:cNvSpPr txBox="1"/>
          <p:nvPr/>
        </p:nvSpPr>
        <p:spPr>
          <a:xfrm>
            <a:off x="6046071" y="3309031"/>
            <a:ext cx="344838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r>
              <a:rPr lang="de-DE" dirty="0" smtClean="0"/>
              <a:t>.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modifications</a:t>
            </a:r>
            <a:r>
              <a:rPr lang="de-DE" dirty="0" smtClean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Configur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endpoint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environment</a:t>
            </a:r>
            <a:r>
              <a:rPr lang="de-DE" dirty="0" smtClean="0"/>
              <a:t>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Remove </a:t>
            </a:r>
            <a:r>
              <a:rPr lang="de-DE" dirty="0" err="1" smtClean="0"/>
              <a:t>cross-instance</a:t>
            </a:r>
            <a:r>
              <a:rPr lang="de-DE" dirty="0" smtClean="0"/>
              <a:t> </a:t>
            </a:r>
            <a:r>
              <a:rPr lang="de-DE" dirty="0" err="1" smtClean="0"/>
              <a:t>state</a:t>
            </a:r>
            <a:endParaRPr lang="de-DE" dirty="0"/>
          </a:p>
        </p:txBody>
      </p:sp>
      <p:sp>
        <p:nvSpPr>
          <p:cNvPr id="24" name="Textfeld 23"/>
          <p:cNvSpPr txBox="1"/>
          <p:nvPr/>
        </p:nvSpPr>
        <p:spPr>
          <a:xfrm>
            <a:off x="6061058" y="5045707"/>
            <a:ext cx="342914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dirty="0" smtClean="0"/>
              <a:t>Single </a:t>
            </a:r>
            <a:r>
              <a:rPr lang="de-DE" dirty="0" err="1" smtClean="0"/>
              <a:t>instance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Use</a:t>
            </a:r>
            <a:r>
              <a:rPr lang="de-DE" dirty="0" smtClean="0"/>
              <a:t> a cluster-version like </a:t>
            </a:r>
            <a:br>
              <a:rPr lang="de-DE" dirty="0" smtClean="0"/>
            </a:br>
            <a:r>
              <a:rPr lang="de-DE" dirty="0" err="1" smtClean="0"/>
              <a:t>Galera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Vitess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Operate</a:t>
            </a:r>
            <a:r>
              <a:rPr lang="de-DE" dirty="0" smtClean="0"/>
              <a:t> outsid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loud</a:t>
            </a:r>
            <a:endParaRPr lang="de-DE" dirty="0" smtClean="0"/>
          </a:p>
        </p:txBody>
      </p:sp>
      <p:sp>
        <p:nvSpPr>
          <p:cNvPr id="4" name="Textfeld 3"/>
          <p:cNvSpPr txBox="1"/>
          <p:nvPr/>
        </p:nvSpPr>
        <p:spPr>
          <a:xfrm>
            <a:off x="2360911" y="1092303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Sample: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9344879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7957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1" name="Rechteck 4"/>
          <p:cNvSpPr/>
          <p:nvPr/>
        </p:nvSpPr>
        <p:spPr>
          <a:xfrm>
            <a:off x="1267446" y="3658859"/>
            <a:ext cx="9144587" cy="19764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52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</TotalTime>
  <Words>386</Words>
  <Application>Microsoft Macintosh PowerPoint</Application>
  <PresentationFormat>Widescreen</PresentationFormat>
  <Paragraphs>139</Paragraphs>
  <Slides>13</Slides>
  <Notes>2</Notes>
  <HiddenSlides>3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legreya Sans Black</vt:lpstr>
      <vt:lpstr>Arial</vt:lpstr>
      <vt:lpstr>Arial Narrow</vt:lpstr>
      <vt:lpstr>Calibri</vt:lpstr>
      <vt:lpstr>Cambria Math</vt:lpstr>
      <vt:lpstr>Lucida Grande</vt:lpstr>
      <vt:lpstr>Source Code Pro</vt:lpstr>
      <vt:lpstr>Wingdings</vt:lpstr>
      <vt:lpstr>qaware-folienmaster-1.01</vt:lpstr>
      <vt:lpstr>think-cell Folie</vt:lpstr>
      <vt:lpstr>PowerPoint Presentation</vt:lpstr>
      <vt:lpstr>PowerPoint Presentation</vt:lpstr>
      <vt:lpstr>The Cloud Native Stack</vt:lpstr>
      <vt:lpstr>The Cloud Native Stack</vt:lpstr>
      <vt:lpstr>PowerPoint Presentation</vt:lpstr>
      <vt:lpstr>PowerPoint Presentation</vt:lpstr>
      <vt:lpstr>The Cloud Native Stack</vt:lpstr>
      <vt:lpstr>Ops Components can also be carved out of Classical Software.</vt:lpstr>
      <vt:lpstr>The Cloud Native Stack</vt:lpstr>
      <vt:lpstr>Cluster Orchestration: The Composition Part</vt:lpstr>
      <vt:lpstr>Docker Compose</vt:lpstr>
      <vt:lpstr>Docker Compose Overview</vt:lpstr>
      <vt:lpstr>Compose: Building and Wiring Multiple Containers Locally.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50</cp:revision>
  <dcterms:created xsi:type="dcterms:W3CDTF">2014-10-08T07:51:16Z</dcterms:created>
  <dcterms:modified xsi:type="dcterms:W3CDTF">2016-11-07T13:49:04Z</dcterms:modified>
</cp:coreProperties>
</file>